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840" r:id="rId1"/>
  </p:sldMasterIdLst>
  <p:notesMasterIdLst>
    <p:notesMasterId r:id="rId15"/>
  </p:notesMasterIdLst>
  <p:sldIdLst>
    <p:sldId id="256" r:id="rId2"/>
    <p:sldId id="280" r:id="rId3"/>
    <p:sldId id="257" r:id="rId4"/>
    <p:sldId id="258" r:id="rId5"/>
    <p:sldId id="259" r:id="rId6"/>
    <p:sldId id="281" r:id="rId7"/>
    <p:sldId id="267" r:id="rId8"/>
    <p:sldId id="283" r:id="rId9"/>
    <p:sldId id="282" r:id="rId10"/>
    <p:sldId id="284" r:id="rId11"/>
    <p:sldId id="285" r:id="rId12"/>
    <p:sldId id="286" r:id="rId13"/>
    <p:sldId id="279" r:id="rId14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97" autoAdjust="0"/>
    <p:restoredTop sz="94660"/>
  </p:normalViewPr>
  <p:slideViewPr>
    <p:cSldViewPr snapToGrid="0">
      <p:cViewPr varScale="1">
        <p:scale>
          <a:sx n="71" d="100"/>
          <a:sy n="71" d="100"/>
        </p:scale>
        <p:origin x="642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D23700-52A7-4ED5-ADAF-5473BB67F9FB}" type="datetimeFigureOut">
              <a:rPr lang="en-US" smtClean="0"/>
              <a:t>2/2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36582B-6C5F-4F74-9E89-961853F94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13113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20834" y="1346946"/>
            <a:ext cx="10222992" cy="80683"/>
          </a:xfrm>
          <a:prstGeom prst="rect">
            <a:avLst/>
          </a:prstGeom>
          <a:blipFill dpi="0" rotWithShape="1">
            <a:blip r:embed="rId2">
              <a:alphaModFix amt="8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6200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920834" y="4282762"/>
            <a:ext cx="10222992" cy="80683"/>
          </a:xfrm>
          <a:prstGeom prst="rect">
            <a:avLst/>
          </a:prstGeom>
          <a:blipFill dpi="0" rotWithShape="1">
            <a:blip r:embed="rId2">
              <a:alphaModFix amt="8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175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920834" y="1484779"/>
            <a:ext cx="10222992" cy="2743200"/>
          </a:xfrm>
          <a:prstGeom prst="rect">
            <a:avLst/>
          </a:prstGeom>
          <a:blipFill dpi="0" rotWithShape="1">
            <a:blip r:embed="rId2">
              <a:alphaModFix amt="8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10" name="Group 9"/>
          <p:cNvGrpSpPr/>
          <p:nvPr/>
        </p:nvGrpSpPr>
        <p:grpSpPr>
          <a:xfrm>
            <a:off x="9649215" y="4068923"/>
            <a:ext cx="1080904" cy="1080902"/>
            <a:chOff x="9685338" y="4460675"/>
            <a:chExt cx="1080904" cy="1080902"/>
          </a:xfrm>
        </p:grpSpPr>
        <p:sp>
          <p:nvSpPr>
            <p:cNvPr id="11" name="Oval 10"/>
            <p:cNvSpPr/>
            <p:nvPr/>
          </p:nvSpPr>
          <p:spPr>
            <a:xfrm>
              <a:off x="9685338" y="4460675"/>
              <a:ext cx="1080904" cy="1080902"/>
            </a:xfrm>
            <a:prstGeom prst="ellipse">
              <a:avLst/>
            </a:prstGeom>
            <a:blipFill dpi="0" rotWithShape="1">
              <a:blip r:embed="rId4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</a14:imgLayer>
                    </a14:imgProps>
                  </a:ext>
                </a:extLst>
              </a:blip>
              <a:srcRect/>
              <a:tile tx="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2" name="Oval 11"/>
            <p:cNvSpPr/>
            <p:nvPr/>
          </p:nvSpPr>
          <p:spPr>
            <a:xfrm>
              <a:off x="9793429" y="4568765"/>
              <a:ext cx="864723" cy="864722"/>
            </a:xfrm>
            <a:prstGeom prst="ellipse">
              <a:avLst/>
            </a:prstGeom>
            <a:noFill/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51560" y="1432223"/>
            <a:ext cx="9966960" cy="3035808"/>
          </a:xfr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7200" b="1" cap="none" baseline="0">
                <a:blipFill dpi="0" rotWithShape="1">
                  <a:blip r:embed="rId4"/>
                  <a:srcRect/>
                  <a:tile tx="6350" ty="-127000" sx="65000" sy="64000" flip="none" algn="tl"/>
                </a:blip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69848" y="4389120"/>
            <a:ext cx="7891272" cy="1069848"/>
          </a:xfrm>
        </p:spPr>
        <p:txBody>
          <a:bodyPr>
            <a:normAutofit/>
          </a:bodyPr>
          <a:lstStyle>
            <a:lvl1pPr marL="0" indent="0" algn="l">
              <a:buNone/>
              <a:defRPr sz="2000" b="1"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20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1B805F-FF0F-4BAA-A3A3-E4F945D687F8}" type="datetimeFigureOut">
              <a:rPr lang="en-US" dirty="0"/>
              <a:t>2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592733" y="4289334"/>
            <a:ext cx="1193868" cy="640080"/>
          </a:xfrm>
        </p:spPr>
        <p:txBody>
          <a:bodyPr/>
          <a:lstStyle>
            <a:lvl1pPr>
              <a:defRPr sz="2800" b="1"/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B5C51-60B3-48EF-AA78-DB950F30DBA2}" type="datetimeFigureOut">
              <a:rPr lang="en-US" dirty="0"/>
              <a:t>2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533400"/>
            <a:ext cx="2552700" cy="56388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66800" y="533400"/>
            <a:ext cx="7505700" cy="56388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5D676B-6E73-4E3B-A9B3-4966DB9B52A5}" type="datetimeFigureOut">
              <a:rPr lang="en-US" dirty="0"/>
              <a:t>2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61F3A6-CC5D-4649-8527-DB0C21FDDFD9}" type="datetimeFigureOut">
              <a:rPr lang="en-US" dirty="0"/>
              <a:t>2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4917989"/>
            <a:ext cx="12192000" cy="1940010"/>
          </a:xfrm>
          <a:prstGeom prst="rect">
            <a:avLst/>
          </a:prstGeom>
          <a:blipFill dpi="0" rotWithShape="1">
            <a:blip r:embed="rId2">
              <a:alphaModFix amt="8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67128" y="1225296"/>
            <a:ext cx="9281160" cy="3520440"/>
          </a:xfrm>
        </p:spPr>
        <p:txBody>
          <a:bodyPr anchor="ctr">
            <a:normAutofit/>
          </a:bodyPr>
          <a:lstStyle>
            <a:lvl1pPr>
              <a:lnSpc>
                <a:spcPct val="85000"/>
              </a:lnSpc>
              <a:defRPr sz="72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65774" y="5020056"/>
            <a:ext cx="9052560" cy="1066800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chemeClr val="accent2">
                    <a:lumMod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593667" y="6272784"/>
            <a:ext cx="2644309" cy="365125"/>
          </a:xfrm>
        </p:spPr>
        <p:txBody>
          <a:bodyPr/>
          <a:lstStyle>
            <a:lvl1pPr>
              <a:defRPr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fld id="{5B6F927C-B73E-4F9D-ADFE-F6E23BD7CEE8}" type="datetimeFigureOut">
              <a:rPr lang="en-US" dirty="0"/>
              <a:t>2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182708" y="6272784"/>
            <a:ext cx="6327648" cy="365125"/>
          </a:xfrm>
        </p:spPr>
        <p:txBody>
          <a:bodyPr/>
          <a:lstStyle>
            <a:lvl1pPr>
              <a:defRPr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897399" y="2325848"/>
            <a:ext cx="1080904" cy="1080902"/>
            <a:chOff x="9685338" y="4460675"/>
            <a:chExt cx="1080904" cy="1080902"/>
          </a:xfrm>
        </p:grpSpPr>
        <p:sp>
          <p:nvSpPr>
            <p:cNvPr id="9" name="Oval 8"/>
            <p:cNvSpPr/>
            <p:nvPr/>
          </p:nvSpPr>
          <p:spPr>
            <a:xfrm>
              <a:off x="9685338" y="4460675"/>
              <a:ext cx="1080904" cy="1080902"/>
            </a:xfrm>
            <a:prstGeom prst="ellipse">
              <a:avLst/>
            </a:prstGeom>
            <a:blipFill dpi="0" rotWithShape="1">
              <a:blip r:embed="rId4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</a14:imgLayer>
                    </a14:imgProps>
                  </a:ext>
                </a:extLst>
              </a:blip>
              <a:srcRect/>
              <a:tile tx="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0" name="Oval 9"/>
            <p:cNvSpPr/>
            <p:nvPr/>
          </p:nvSpPr>
          <p:spPr>
            <a:xfrm>
              <a:off x="9793429" y="4568765"/>
              <a:ext cx="864723" cy="864722"/>
            </a:xfrm>
            <a:prstGeom prst="ellipse">
              <a:avLst/>
            </a:prstGeom>
            <a:noFill/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3702" y="2506133"/>
            <a:ext cx="1188298" cy="720332"/>
          </a:xfrm>
        </p:spPr>
        <p:txBody>
          <a:bodyPr/>
          <a:lstStyle>
            <a:lvl1pPr>
              <a:defRPr sz="2800"/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69848" y="2194560"/>
            <a:ext cx="4754880" cy="3977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64224" y="2194560"/>
            <a:ext cx="4754880" cy="3977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1FFFF-984A-4EE5-9BF2-EC9310C878F1}" type="datetimeFigureOut">
              <a:rPr lang="en-US" dirty="0"/>
              <a:t>2/2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6800" y="2048256"/>
            <a:ext cx="4754880" cy="64008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69848" y="2743200"/>
            <a:ext cx="4754880" cy="32918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64224" y="2048256"/>
            <a:ext cx="4754880" cy="64008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64224" y="2743200"/>
            <a:ext cx="4754880" cy="32918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3271C1-B42E-4A60-A25F-0185B888604B}" type="datetimeFigureOut">
              <a:rPr lang="en-US" dirty="0"/>
              <a:t>2/22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16292-3725-4763-8973-4C59F0403D99}" type="datetimeFigureOut">
              <a:rPr lang="en-US" dirty="0"/>
              <a:t>2/2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6996D1-8909-469F-911A-4C12C68BF5D9}" type="datetimeFigureOut">
              <a:rPr lang="en-US" dirty="0"/>
              <a:t>2/22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8303740" y="0"/>
            <a:ext cx="3888259" cy="6857999"/>
          </a:xfrm>
          <a:prstGeom prst="rect">
            <a:avLst/>
          </a:prstGeom>
          <a:blipFill dpi="0" rotWithShape="1">
            <a:blip r:embed="rId2">
              <a:alphaModFix amt="6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9640" y="685800"/>
            <a:ext cx="3200400" cy="1737360"/>
          </a:xfrm>
        </p:spPr>
        <p:txBody>
          <a:bodyPr anchor="b">
            <a:normAutofit/>
          </a:bodyPr>
          <a:lstStyle>
            <a:lvl1pPr>
              <a:defRPr sz="32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685800"/>
            <a:ext cx="6711696" cy="502005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49640" y="2423160"/>
            <a:ext cx="3200400" cy="329184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accent2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A73BC-5D11-4675-B334-102E1E8C9B50}" type="datetimeFigureOut">
              <a:rPr lang="en-US" dirty="0"/>
              <a:t>2/2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11401725" y="6229681"/>
            <a:ext cx="457200" cy="457200"/>
            <a:chOff x="11361456" y="6195813"/>
            <a:chExt cx="548640" cy="548640"/>
          </a:xfrm>
        </p:grpSpPr>
        <p:sp>
          <p:nvSpPr>
            <p:cNvPr id="10" name="Oval 9"/>
            <p:cNvSpPr/>
            <p:nvPr/>
          </p:nvSpPr>
          <p:spPr>
            <a:xfrm>
              <a:off x="11361456" y="6195813"/>
              <a:ext cx="548640" cy="548640"/>
            </a:xfrm>
            <a:prstGeom prst="ellipse">
              <a:avLst/>
            </a:prstGeom>
            <a:blipFill dpi="0" rotWithShape="1">
              <a:blip r:embed="rId4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1" name="Oval 10"/>
            <p:cNvSpPr/>
            <p:nvPr/>
          </p:nvSpPr>
          <p:spPr>
            <a:xfrm>
              <a:off x="11396488" y="6230844"/>
              <a:ext cx="478576" cy="478578"/>
            </a:xfrm>
            <a:prstGeom prst="ellipse">
              <a:avLst/>
            </a:prstGeom>
            <a:noFill/>
            <a:ln w="127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8303740" y="0"/>
            <a:ext cx="3888259" cy="6857999"/>
          </a:xfrm>
          <a:prstGeom prst="rect">
            <a:avLst/>
          </a:prstGeom>
          <a:blipFill dpi="0" rotWithShape="1">
            <a:blip r:embed="rId2">
              <a:alphaModFix amt="6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9640" y="685800"/>
            <a:ext cx="3200400" cy="1737360"/>
          </a:xfrm>
        </p:spPr>
        <p:txBody>
          <a:bodyPr anchor="b">
            <a:normAutofit/>
          </a:bodyPr>
          <a:lstStyle>
            <a:lvl1pPr>
              <a:defRPr sz="32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830374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49640" y="2423160"/>
            <a:ext cx="3200400" cy="329184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accent2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fld id="{27B8E45F-652B-4E89-8925-000B0AB8FD98}" type="datetimeFigureOut">
              <a:rPr lang="en-US" dirty="0"/>
              <a:t>2/22/2023</a:t>
            </a:fld>
            <a:endParaRPr lang="en-US" dirty="0"/>
          </a:p>
        </p:txBody>
      </p:sp>
      <p:grpSp>
        <p:nvGrpSpPr>
          <p:cNvPr id="8" name="Group 7"/>
          <p:cNvGrpSpPr>
            <a:grpSpLocks noChangeAspect="1"/>
          </p:cNvGrpSpPr>
          <p:nvPr/>
        </p:nvGrpSpPr>
        <p:grpSpPr>
          <a:xfrm>
            <a:off x="11401725" y="6229681"/>
            <a:ext cx="457200" cy="457200"/>
            <a:chOff x="11361456" y="6195813"/>
            <a:chExt cx="548640" cy="548640"/>
          </a:xfrm>
        </p:grpSpPr>
        <p:sp>
          <p:nvSpPr>
            <p:cNvPr id="9" name="Oval 8"/>
            <p:cNvSpPr/>
            <p:nvPr/>
          </p:nvSpPr>
          <p:spPr>
            <a:xfrm>
              <a:off x="11361456" y="6195813"/>
              <a:ext cx="548640" cy="548640"/>
            </a:xfrm>
            <a:prstGeom prst="ellipse">
              <a:avLst/>
            </a:prstGeom>
            <a:blipFill dpi="0" rotWithShape="1">
              <a:blip r:embed="rId4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0" name="Oval 9"/>
            <p:cNvSpPr/>
            <p:nvPr/>
          </p:nvSpPr>
          <p:spPr>
            <a:xfrm>
              <a:off x="11396488" y="6230844"/>
              <a:ext cx="478576" cy="478578"/>
            </a:xfrm>
            <a:prstGeom prst="ellipse">
              <a:avLst/>
            </a:prstGeom>
            <a:noFill/>
            <a:ln w="127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microsoft.com/office/2007/relationships/hdphoto" Target="../media/hdphoto1.wdp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B5753C9-547F-477E-ACAD-9F290D96FA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20118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1" imgH="423" progId="TCLayout.ActiveDocument.1">
                  <p:embed/>
                </p:oleObj>
              </mc:Choice>
              <mc:Fallback>
                <p:oleObj name="think-cell Slide" r:id="rId1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69848" y="484632"/>
            <a:ext cx="10058400" cy="16093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9848" y="2121408"/>
            <a:ext cx="10058400" cy="4050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964424" y="6272784"/>
            <a:ext cx="32735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fld id="{C4A3462A-2D5B-48AF-A3D4-EF8A90A50A80}" type="datetimeFigureOut">
              <a:rPr lang="en-US" dirty="0"/>
              <a:t>2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8136" y="6272784"/>
            <a:ext cx="63276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7" name="Group 6"/>
          <p:cNvGrpSpPr>
            <a:grpSpLocks noChangeAspect="1"/>
          </p:cNvGrpSpPr>
          <p:nvPr/>
        </p:nvGrpSpPr>
        <p:grpSpPr>
          <a:xfrm>
            <a:off x="11401725" y="6229681"/>
            <a:ext cx="457200" cy="457200"/>
            <a:chOff x="11361456" y="6195813"/>
            <a:chExt cx="548640" cy="548640"/>
          </a:xfrm>
        </p:grpSpPr>
        <p:sp>
          <p:nvSpPr>
            <p:cNvPr id="8" name="Oval 7"/>
            <p:cNvSpPr/>
            <p:nvPr/>
          </p:nvSpPr>
          <p:spPr>
            <a:xfrm>
              <a:off x="11361456" y="6195813"/>
              <a:ext cx="548640" cy="548640"/>
            </a:xfrm>
            <a:prstGeom prst="ellipse">
              <a:avLst/>
            </a:prstGeom>
            <a:blipFill dpi="0" rotWithShape="1">
              <a:blip r:embed="rId16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7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9" name="Oval 8"/>
            <p:cNvSpPr/>
            <p:nvPr/>
          </p:nvSpPr>
          <p:spPr>
            <a:xfrm>
              <a:off x="11396488" y="6230844"/>
              <a:ext cx="478576" cy="478578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</p:sp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11128" y="6272784"/>
            <a:ext cx="6400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b="1">
                <a:solidFill>
                  <a:srgbClr val="FFFFFF"/>
                </a:solidFill>
                <a:latin typeface="+mj-lt"/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b="1" kern="1200" cap="none" baseline="0">
          <a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tile tx="6350" ty="-127000" sx="65000" sy="64000" flip="none" algn="tl"/>
          </a:blip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2"/>
        </a:buClr>
        <a:buSzPct val="8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2"/>
        </a:buClr>
        <a:buSzPct val="85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2"/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2"/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2"/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2"/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2"/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2"/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2"/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.xml"/><Relationship Id="rId5" Type="http://schemas.openxmlformats.org/officeDocument/2006/relationships/image" Target="../media/image15.png"/><Relationship Id="rId4" Type="http://schemas.openxmlformats.org/officeDocument/2006/relationships/image" Target="../media/image2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Relationship Id="rId5" Type="http://schemas.openxmlformats.org/officeDocument/2006/relationships/image" Target="../media/image16.png"/><Relationship Id="rId4" Type="http://schemas.openxmlformats.org/officeDocument/2006/relationships/image" Target="../media/image2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.xml"/><Relationship Id="rId6" Type="http://schemas.openxmlformats.org/officeDocument/2006/relationships/hyperlink" Target="https://www.cienciadedatos.net/documentos/py37-forecasting-web-traffic-machine-learning.html" TargetMode="External"/><Relationship Id="rId5" Type="http://schemas.openxmlformats.org/officeDocument/2006/relationships/hyperlink" Target="https://www.kaggle.com/competitions/web-traffic-time-series-forecasting/overview" TargetMode="External"/><Relationship Id="rId4" Type="http://schemas.openxmlformats.org/officeDocument/2006/relationships/image" Target="../media/image2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6" Type="http://schemas.openxmlformats.org/officeDocument/2006/relationships/hyperlink" Target="https://id.wikipedia.org/wiki/1973" TargetMode="External"/><Relationship Id="rId5" Type="http://schemas.openxmlformats.org/officeDocument/2006/relationships/hyperlink" Target="https://id.wikipedia.org/wiki/Jalan_tol" TargetMode="External"/><Relationship Id="rId4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2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Relationship Id="rId5" Type="http://schemas.openxmlformats.org/officeDocument/2006/relationships/image" Target="../media/image10.png"/><Relationship Id="rId4" Type="http://schemas.openxmlformats.org/officeDocument/2006/relationships/image" Target="../media/image2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2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4B87A13-3D6C-44BF-811F-3E296F0886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9745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09C3A0A-9EE5-44DA-A2B4-651A636BD30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pPr algn="ctr"/>
            <a:r>
              <a:rPr lang="en-US" sz="5400" dirty="0" err="1"/>
              <a:t>Analisis</a:t>
            </a:r>
            <a:r>
              <a:rPr lang="en-US" sz="5400" dirty="0"/>
              <a:t> Traffic </a:t>
            </a:r>
            <a:br>
              <a:rPr lang="en-US" sz="5400" dirty="0"/>
            </a:br>
            <a:r>
              <a:rPr lang="en-US" dirty="0"/>
              <a:t>“Tol </a:t>
            </a:r>
            <a:r>
              <a:rPr lang="en-US" dirty="0" err="1"/>
              <a:t>Jagorawi</a:t>
            </a:r>
            <a:r>
              <a:rPr lang="en-US" dirty="0"/>
              <a:t>”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A789B-75CF-46AF-90C8-33680B14A8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35377" y="5425777"/>
            <a:ext cx="7891272" cy="1069848"/>
          </a:xfrm>
        </p:spPr>
        <p:txBody>
          <a:bodyPr/>
          <a:lstStyle/>
          <a:p>
            <a:r>
              <a:rPr lang="en-US" dirty="0"/>
              <a:t>22 </a:t>
            </a:r>
            <a:r>
              <a:rPr lang="en-US" dirty="0" err="1"/>
              <a:t>Februari</a:t>
            </a:r>
            <a:r>
              <a:rPr lang="en-US" dirty="0"/>
              <a:t> 2022</a:t>
            </a:r>
          </a:p>
          <a:p>
            <a:r>
              <a:rPr lang="en-US" dirty="0" err="1"/>
              <a:t>Hasna</a:t>
            </a:r>
            <a:r>
              <a:rPr lang="en-US" dirty="0"/>
              <a:t> </a:t>
            </a:r>
            <a:r>
              <a:rPr lang="en-US" dirty="0" err="1"/>
              <a:t>Aziza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5083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57CB8BC-DE43-40DC-AD68-245A6AAE93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9347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57CB8BC-DE43-40DC-AD68-245A6AAE9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7783424-FF7F-40E8-A2AE-DB610FA5F1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7766" y="807361"/>
            <a:ext cx="10058400" cy="792839"/>
          </a:xfrm>
        </p:spPr>
        <p:txBody>
          <a:bodyPr vert="horz"/>
          <a:lstStyle/>
          <a:p>
            <a:pPr algn="ctr"/>
            <a:r>
              <a:rPr lang="en-US" dirty="0">
                <a:latin typeface="+mn-lt"/>
              </a:rPr>
              <a:t>Evaluation</a:t>
            </a:r>
            <a:endParaRPr lang="en-US" dirty="0"/>
          </a:p>
        </p:txBody>
      </p:sp>
      <p:sp>
        <p:nvSpPr>
          <p:cNvPr id="4" name="Content Placeholder 24">
            <a:extLst>
              <a:ext uri="{FF2B5EF4-FFF2-40B4-BE49-F238E27FC236}">
                <a16:creationId xmlns:a16="http://schemas.microsoft.com/office/drawing/2014/main" id="{C1BD89E3-E664-43F3-B2F1-F4579F3685FA}"/>
              </a:ext>
            </a:extLst>
          </p:cNvPr>
          <p:cNvSpPr txBox="1">
            <a:spLocks/>
          </p:cNvSpPr>
          <p:nvPr/>
        </p:nvSpPr>
        <p:spPr>
          <a:xfrm>
            <a:off x="884072" y="1922929"/>
            <a:ext cx="10492140" cy="3496236"/>
          </a:xfrm>
          <a:prstGeom prst="rect">
            <a:avLst/>
          </a:prstGeom>
        </p:spPr>
        <p:txBody>
          <a:bodyPr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Data yang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diolah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tidak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membentuk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suatu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pola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dan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tidak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menentu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median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levelnya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. Pada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saat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pengecekan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nilai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error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menghasilkan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nilai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cukup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tinggi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yaitu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70% </a:t>
            </a:r>
          </a:p>
          <a:p>
            <a:endParaRPr lang="en-ID" dirty="0">
              <a:solidFill>
                <a:srgbClr val="2A2A2A"/>
              </a:solidFill>
              <a:latin typeface="Roboto" panose="02000000000000000000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BB06890-F487-43FB-BD18-B1A569795AE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17766" y="2688214"/>
            <a:ext cx="5696745" cy="1105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3760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57CB8BC-DE43-40DC-AD68-245A6AAE93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1712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57CB8BC-DE43-40DC-AD68-245A6AAE9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7783424-FF7F-40E8-A2AE-DB610FA5F1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7766" y="807361"/>
            <a:ext cx="10058400" cy="792839"/>
          </a:xfrm>
        </p:spPr>
        <p:txBody>
          <a:bodyPr vert="horz"/>
          <a:lstStyle/>
          <a:p>
            <a:pPr algn="ctr"/>
            <a:r>
              <a:rPr lang="en-US" dirty="0">
                <a:latin typeface="+mn-lt"/>
              </a:rPr>
              <a:t>Deployment</a:t>
            </a:r>
            <a:endParaRPr lang="en-US" dirty="0"/>
          </a:p>
        </p:txBody>
      </p:sp>
      <p:sp>
        <p:nvSpPr>
          <p:cNvPr id="4" name="Content Placeholder 24">
            <a:extLst>
              <a:ext uri="{FF2B5EF4-FFF2-40B4-BE49-F238E27FC236}">
                <a16:creationId xmlns:a16="http://schemas.microsoft.com/office/drawing/2014/main" id="{C1BD89E3-E664-43F3-B2F1-F4579F3685FA}"/>
              </a:ext>
            </a:extLst>
          </p:cNvPr>
          <p:cNvSpPr txBox="1">
            <a:spLocks/>
          </p:cNvSpPr>
          <p:nvPr/>
        </p:nvSpPr>
        <p:spPr>
          <a:xfrm>
            <a:off x="884072" y="1922929"/>
            <a:ext cx="10492140" cy="430306"/>
          </a:xfrm>
          <a:prstGeom prst="rect">
            <a:avLst/>
          </a:prstGeom>
        </p:spPr>
        <p:txBody>
          <a:bodyPr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Dilakukan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forecasting data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dengan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menggunakan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model yang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dibangun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</a:p>
          <a:p>
            <a:endParaRPr lang="en-ID" dirty="0">
              <a:solidFill>
                <a:srgbClr val="2A2A2A"/>
              </a:solidFill>
              <a:latin typeface="Roboto" panose="02000000000000000000" pitchFamily="2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AE78635-F545-443F-816B-7E5783AFBE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13601" y="2583109"/>
            <a:ext cx="3904523" cy="2836056"/>
          </a:xfrm>
          <a:prstGeom prst="rect">
            <a:avLst/>
          </a:prstGeom>
        </p:spPr>
      </p:pic>
      <p:sp>
        <p:nvSpPr>
          <p:cNvPr id="9" name="Content Placeholder 24">
            <a:extLst>
              <a:ext uri="{FF2B5EF4-FFF2-40B4-BE49-F238E27FC236}">
                <a16:creationId xmlns:a16="http://schemas.microsoft.com/office/drawing/2014/main" id="{9DF1D05B-AB27-4D11-BA92-0C840CC6AF1F}"/>
              </a:ext>
            </a:extLst>
          </p:cNvPr>
          <p:cNvSpPr txBox="1">
            <a:spLocks/>
          </p:cNvSpPr>
          <p:nvPr/>
        </p:nvSpPr>
        <p:spPr>
          <a:xfrm>
            <a:off x="884071" y="5620333"/>
            <a:ext cx="10586269" cy="699785"/>
          </a:xfrm>
          <a:prstGeom prst="rect">
            <a:avLst/>
          </a:prstGeom>
        </p:spPr>
        <p:txBody>
          <a:bodyPr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Meskipun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pola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data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tidak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dapat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dilihat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trendnya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,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namun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dapat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diketahui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nilai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level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kemacetan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berada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di rata-rata 2-3 yang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mengindikasikan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tingkat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kemacetan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rendah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.</a:t>
            </a:r>
          </a:p>
          <a:p>
            <a:endParaRPr lang="en-ID" dirty="0">
              <a:solidFill>
                <a:srgbClr val="2A2A2A"/>
              </a:solidFill>
              <a:latin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81007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57CB8BC-DE43-40DC-AD68-245A6AAE93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6091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57CB8BC-DE43-40DC-AD68-245A6AAE9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7783424-FF7F-40E8-A2AE-DB610FA5F1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7766" y="807361"/>
            <a:ext cx="10058400" cy="792839"/>
          </a:xfrm>
        </p:spPr>
        <p:txBody>
          <a:bodyPr vert="horz"/>
          <a:lstStyle/>
          <a:p>
            <a:pPr algn="ctr"/>
            <a:r>
              <a:rPr lang="en-US" dirty="0" err="1">
                <a:latin typeface="+mn-lt"/>
              </a:rPr>
              <a:t>Referensi</a:t>
            </a:r>
            <a:endParaRPr lang="en-US" dirty="0"/>
          </a:p>
        </p:txBody>
      </p:sp>
      <p:sp>
        <p:nvSpPr>
          <p:cNvPr id="4" name="Content Placeholder 24">
            <a:extLst>
              <a:ext uri="{FF2B5EF4-FFF2-40B4-BE49-F238E27FC236}">
                <a16:creationId xmlns:a16="http://schemas.microsoft.com/office/drawing/2014/main" id="{C1BD89E3-E664-43F3-B2F1-F4579F3685FA}"/>
              </a:ext>
            </a:extLst>
          </p:cNvPr>
          <p:cNvSpPr txBox="1">
            <a:spLocks/>
          </p:cNvSpPr>
          <p:nvPr/>
        </p:nvSpPr>
        <p:spPr>
          <a:xfrm>
            <a:off x="884072" y="1922928"/>
            <a:ext cx="10492140" cy="1075765"/>
          </a:xfrm>
          <a:prstGeom prst="rect">
            <a:avLst/>
          </a:prstGeom>
        </p:spPr>
        <p:txBody>
          <a:bodyPr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  <a:hlinkClick r:id="rId5"/>
              </a:rPr>
              <a:t>https://www.kaggle.com/competitions/web-traffic-time-series-forecasting/overview</a:t>
            </a:r>
            <a:endParaRPr lang="en-US" dirty="0">
              <a:solidFill>
                <a:srgbClr val="202122"/>
              </a:solidFill>
              <a:latin typeface="Arial" panose="020B0604020202020204" pitchFamily="34" charset="0"/>
            </a:endParaRPr>
          </a:p>
          <a:p>
            <a:r>
              <a:rPr lang="en-ID" dirty="0">
                <a:solidFill>
                  <a:srgbClr val="2A2A2A"/>
                </a:solidFill>
                <a:latin typeface="Roboto" panose="02000000000000000000" pitchFamily="2" charset="0"/>
                <a:hlinkClick r:id="rId6"/>
              </a:rPr>
              <a:t>https://www.cienciadedatos.net/documentos/py37-forecasting-web-traffic-machine-learning.html</a:t>
            </a:r>
            <a:endParaRPr lang="en-ID" dirty="0">
              <a:solidFill>
                <a:srgbClr val="2A2A2A"/>
              </a:solidFill>
              <a:latin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89858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20E105A-855D-4E01-9E86-B6EFB15C3C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0392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18A2DE62-7CC5-416E-BC36-2F2001435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Terimakasi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27859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1FA784-7F9C-47CF-BE41-701A07658C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689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B5A34F4-F237-4A6F-AB41-DBA43CBC8A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ut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D2504C-D1F4-472E-85BA-D71E948F86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100" dirty="0">
                <a:latin typeface="Arial" panose="020B0604020202020204" pitchFamily="34" charset="0"/>
                <a:cs typeface="Arial" panose="020B0604020202020204" pitchFamily="34" charset="0"/>
              </a:rPr>
              <a:t>Business Understanding</a:t>
            </a:r>
          </a:p>
          <a:p>
            <a:r>
              <a:rPr lang="en-US" sz="2100" dirty="0">
                <a:latin typeface="Arial" panose="020B0604020202020204" pitchFamily="34" charset="0"/>
                <a:cs typeface="Arial" panose="020B0604020202020204" pitchFamily="34" charset="0"/>
              </a:rPr>
              <a:t>Data Understanding</a:t>
            </a:r>
          </a:p>
          <a:p>
            <a:r>
              <a:rPr lang="en-ID" sz="21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ata Cleansing and </a:t>
            </a:r>
            <a:r>
              <a:rPr lang="en-ID" sz="21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eprocessing</a:t>
            </a:r>
            <a:r>
              <a:rPr lang="en-ID" sz="21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2100" b="0" i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ID" sz="21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odeling</a:t>
            </a:r>
            <a:endParaRPr lang="en-US" sz="21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ID" sz="21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aluation</a:t>
            </a:r>
            <a:endParaRPr lang="en-US" sz="2100" b="0" i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ID" sz="21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eployment,</a:t>
            </a:r>
            <a:endParaRPr lang="en-US" sz="21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ID" sz="21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ferensi</a:t>
            </a:r>
            <a:endParaRPr lang="en-US" sz="2100" b="0" i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46498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32FF562-1D79-419A-B933-AD03D0CC47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6540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A2C6B8C3-83B6-444A-A7A8-4B1C0768A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310462"/>
            <a:ext cx="10058400" cy="1031030"/>
          </a:xfrm>
        </p:spPr>
        <p:txBody>
          <a:bodyPr vert="horz">
            <a:noAutofit/>
          </a:bodyPr>
          <a:lstStyle/>
          <a:p>
            <a:r>
              <a:rPr lang="en-US" sz="2400" dirty="0"/>
              <a:t>Business Understanding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D43543DC-7BE3-4752-A175-2A06573E1D6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69848" y="1494932"/>
            <a:ext cx="10266023" cy="4583138"/>
          </a:xfrm>
        </p:spPr>
        <p:txBody>
          <a:bodyPr>
            <a:normAutofit/>
          </a:bodyPr>
          <a:lstStyle/>
          <a:p>
            <a:pPr algn="just"/>
            <a:r>
              <a:rPr lang="en-ID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Jalan Tol Jakarta–Bogor–</a:t>
            </a:r>
            <a:r>
              <a:rPr lang="en-ID" sz="2100" i="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Ciawi</a:t>
            </a:r>
            <a:r>
              <a:rPr lang="en-ID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en-ID" sz="2100" i="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tau</a:t>
            </a:r>
            <a:r>
              <a:rPr lang="en-ID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Jalan Tol </a:t>
            </a:r>
            <a:r>
              <a:rPr lang="en-ID" sz="2100" i="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Jagorawi</a:t>
            </a:r>
            <a:r>
              <a:rPr lang="en-ID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en-ID" sz="2100" i="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dalah</a:t>
            </a:r>
            <a:r>
              <a:rPr lang="en-ID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en-ID" sz="2100" i="0" strike="noStrike" dirty="0" err="1">
                <a:solidFill>
                  <a:srgbClr val="CC66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5" tooltip="Jalan tol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alan</a:t>
            </a:r>
            <a:r>
              <a:rPr lang="en-ID" sz="2100" i="0" strike="noStrike" dirty="0">
                <a:solidFill>
                  <a:srgbClr val="CC66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5" tooltip="Jalan tol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ID" sz="2100" i="0" strike="noStrike" dirty="0" err="1">
                <a:effectLst/>
                <a:latin typeface="Arial" panose="020B0604020202020204" pitchFamily="34" charset="0"/>
                <a:cs typeface="Arial" panose="020B0604020202020204" pitchFamily="34" charset="0"/>
                <a:hlinkClick r:id="rId5" tooltip="Jalan tol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ol</a:t>
            </a:r>
            <a:r>
              <a:rPr lang="en-ID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en-ID" sz="2100" i="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pertama</a:t>
            </a:r>
            <a:r>
              <a:rPr lang="en-ID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di </a:t>
            </a:r>
            <a:r>
              <a:rPr lang="en-ID" sz="2100" i="0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donesia</a:t>
            </a:r>
            <a:r>
              <a:rPr lang="en-ID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yang </a:t>
            </a:r>
            <a:r>
              <a:rPr lang="en-ID" sz="2100" i="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ulai</a:t>
            </a:r>
            <a:r>
              <a:rPr lang="en-ID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i="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dibangun</a:t>
            </a:r>
            <a:r>
              <a:rPr lang="en-ID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pada </a:t>
            </a:r>
            <a:r>
              <a:rPr lang="en-ID" sz="2100" i="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ahun</a:t>
            </a:r>
            <a:r>
              <a:rPr lang="en-ID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en-ID" sz="2100" i="0" strike="noStrike" dirty="0">
                <a:effectLst/>
                <a:latin typeface="Arial" panose="020B0604020202020204" pitchFamily="34" charset="0"/>
                <a:cs typeface="Arial" panose="020B0604020202020204" pitchFamily="34" charset="0"/>
                <a:hlinkClick r:id="rId6" tooltip="197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973</a:t>
            </a:r>
            <a:r>
              <a:rPr lang="en-ID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2100" i="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nghubungkan</a:t>
            </a:r>
            <a:r>
              <a:rPr lang="en-ID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Jakarta-Bogor-</a:t>
            </a:r>
            <a:r>
              <a:rPr lang="en-ID" sz="2100" i="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Ciawi</a:t>
            </a:r>
            <a:r>
              <a:rPr lang="en-ID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Jalan Tol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Jagorawai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merupakan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jalur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umum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n-ID" sz="2100" i="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ri</a:t>
            </a:r>
            <a:r>
              <a:rPr lang="en-ID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Jakarta </a:t>
            </a:r>
            <a:r>
              <a:rPr lang="en-ID" sz="2100" i="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ke</a:t>
            </a:r>
            <a:r>
              <a:rPr lang="en-ID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i="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Puncak</a:t>
            </a:r>
            <a:r>
              <a:rPr lang="en-ID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i="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bila</a:t>
            </a:r>
            <a:r>
              <a:rPr lang="en-ID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naik </a:t>
            </a:r>
            <a:r>
              <a:rPr lang="en-ID" sz="2100" i="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obil</a:t>
            </a:r>
            <a:r>
              <a:rPr lang="en-ID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Bermain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ke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puncak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bogor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merupakan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salah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satu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tradisi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penduduk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Jakarta sebagai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hiburan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atau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refreshing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dari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penatnya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rutinitas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ID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just"/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Guna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menghindari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kemacetan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tak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sedikit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orang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memilih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untuk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melewati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jalan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tol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Berdasarkan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informasi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jasamarga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, pada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periode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semester I 2022 Jalan Tol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Jagorawi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memiliki</a:t>
            </a:r>
            <a:r>
              <a:rPr lang="en-ID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volume </a:t>
            </a:r>
            <a:r>
              <a:rPr lang="en-ID" sz="2100" i="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lalu</a:t>
            </a:r>
            <a:r>
              <a:rPr lang="en-ID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i="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lintas</a:t>
            </a:r>
            <a:r>
              <a:rPr lang="en-ID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388 </a:t>
            </a:r>
            <a:r>
              <a:rPr lang="en-ID" sz="2100" i="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ribu</a:t>
            </a:r>
            <a:r>
              <a:rPr lang="en-ID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i="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kendaraan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per </a:t>
            </a:r>
            <a:r>
              <a:rPr lang="en-ID" sz="2100" i="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hari</a:t>
            </a:r>
            <a:r>
              <a:rPr lang="en-ID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2100" i="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Dalam</a:t>
            </a:r>
            <a:r>
              <a:rPr lang="en-US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100" i="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nganalisis</a:t>
            </a:r>
            <a:r>
              <a:rPr lang="en-US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100" i="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ingkat</a:t>
            </a:r>
            <a:r>
              <a:rPr lang="en-US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100" i="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kemacetan</a:t>
            </a:r>
            <a:r>
              <a:rPr lang="en-US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di 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Jalan Tol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Jagorawi</a:t>
            </a:r>
            <a:r>
              <a:rPr lang="en-US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100" i="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digunakan</a:t>
            </a:r>
            <a:r>
              <a:rPr lang="en-US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data traffic </a:t>
            </a:r>
            <a:r>
              <a:rPr lang="en-US" sz="2100" i="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periode</a:t>
            </a:r>
            <a:r>
              <a:rPr lang="en-US" sz="21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6 Juli-6 September 2022.</a:t>
            </a:r>
            <a:endParaRPr lang="en-ID" sz="2100" i="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62810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F719C5B-E32F-4D07-BE16-E99FAAA4BF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9492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1">
            <a:extLst>
              <a:ext uri="{FF2B5EF4-FFF2-40B4-BE49-F238E27FC236}">
                <a16:creationId xmlns:a16="http://schemas.microsoft.com/office/drawing/2014/main" id="{5411398A-47E6-4506-91B5-483A764749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84632"/>
            <a:ext cx="10058400" cy="1034886"/>
          </a:xfrm>
        </p:spPr>
        <p:txBody>
          <a:bodyPr vert="horz">
            <a:normAutofit fontScale="90000"/>
          </a:bodyPr>
          <a:lstStyle/>
          <a:p>
            <a:pPr algn="ctr"/>
            <a:r>
              <a:rPr lang="en-US" dirty="0">
                <a:latin typeface="Century Gothic (Headings)"/>
              </a:rPr>
              <a:t>Data Understanding</a:t>
            </a:r>
            <a:br>
              <a:rPr lang="en-ID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dirty="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B3E27E57-B4FE-49EA-8673-2519DA3539E9}"/>
              </a:ext>
            </a:extLst>
          </p:cNvPr>
          <p:cNvGrpSpPr/>
          <p:nvPr/>
        </p:nvGrpSpPr>
        <p:grpSpPr>
          <a:xfrm>
            <a:off x="5978306" y="1819835"/>
            <a:ext cx="3757372" cy="3281082"/>
            <a:chOff x="497541" y="1519518"/>
            <a:chExt cx="4410635" cy="3375211"/>
          </a:xfrm>
        </p:grpSpPr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10441943-4C09-414F-8A34-5681D63328C1}"/>
                </a:ext>
              </a:extLst>
            </p:cNvPr>
            <p:cNvSpPr/>
            <p:nvPr/>
          </p:nvSpPr>
          <p:spPr>
            <a:xfrm>
              <a:off x="497541" y="1519518"/>
              <a:ext cx="4410635" cy="3375211"/>
            </a:xfrm>
            <a:prstGeom prst="round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2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Text Placeholder 23">
              <a:extLst>
                <a:ext uri="{FF2B5EF4-FFF2-40B4-BE49-F238E27FC236}">
                  <a16:creationId xmlns:a16="http://schemas.microsoft.com/office/drawing/2014/main" id="{94C79EFF-C282-44AE-BF03-C20B0E0850A5}"/>
                </a:ext>
              </a:extLst>
            </p:cNvPr>
            <p:cNvSpPr txBox="1">
              <a:spLocks/>
            </p:cNvSpPr>
            <p:nvPr/>
          </p:nvSpPr>
          <p:spPr>
            <a:xfrm>
              <a:off x="1066801" y="2048256"/>
              <a:ext cx="3232672" cy="2219386"/>
            </a:xfrm>
            <a:prstGeom prst="rect">
              <a:avLst/>
            </a:prstGeom>
          </p:spPr>
          <p:txBody>
            <a:bodyPr/>
            <a:lstStyle>
              <a:lvl1pPr marL="182880" indent="-182880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buClr>
                  <a:schemeClr val="accent2"/>
                </a:buClr>
                <a:buSzPct val="85000"/>
                <a:buFont typeface="Wingdings" pitchFamily="2" charset="2"/>
                <a:buChar char="§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-182880" algn="l" defTabSz="914400" rtl="0" eaLnBrk="1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200"/>
                </a:spcAft>
                <a:buClr>
                  <a:schemeClr val="accent2"/>
                </a:buClr>
                <a:buSzPct val="85000"/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200"/>
                </a:spcAft>
                <a:buClr>
                  <a:schemeClr val="accent2"/>
                </a:buClr>
                <a:buSzPct val="85000"/>
                <a:buFont typeface="Wingdings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05840" indent="-182880" algn="l" defTabSz="914400" rtl="0" eaLnBrk="1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200"/>
                </a:spcAft>
                <a:buClr>
                  <a:schemeClr val="accent2"/>
                </a:buClr>
                <a:buSzPct val="85000"/>
                <a:buFont typeface="Wingdings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80160" indent="-182880" algn="l" defTabSz="914400" rtl="0" eaLnBrk="1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200"/>
                </a:spcAft>
                <a:buClr>
                  <a:schemeClr val="accent2"/>
                </a:buClr>
                <a:buSzPct val="85000"/>
                <a:buFont typeface="Wingdings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600000" indent="-228600" algn="l" defTabSz="914400" rtl="0" eaLnBrk="1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200"/>
                </a:spcAft>
                <a:buClr>
                  <a:schemeClr val="accent2"/>
                </a:buClr>
                <a:buSzPct val="85000"/>
                <a:buFont typeface="Wingdings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900000" indent="-228600" algn="l" defTabSz="914400" rtl="0" eaLnBrk="1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200"/>
                </a:spcAft>
                <a:buClr>
                  <a:schemeClr val="accent2"/>
                </a:buClr>
                <a:buSzPct val="85000"/>
                <a:buFont typeface="Wingdings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200000" indent="-228600" algn="l" defTabSz="914400" rtl="0" eaLnBrk="1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200"/>
                </a:spcAft>
                <a:buClr>
                  <a:schemeClr val="accent2"/>
                </a:buClr>
                <a:buSzPct val="85000"/>
                <a:buFont typeface="Wingdings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500000" indent="-228600" algn="l" defTabSz="914400" rtl="0" eaLnBrk="1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200"/>
                </a:spcAft>
                <a:buClr>
                  <a:schemeClr val="accent2"/>
                </a:buClr>
                <a:buSzPct val="85000"/>
                <a:buFont typeface="Wingdings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100" dirty="0">
                  <a:latin typeface="Arial" panose="020B0604020202020204" pitchFamily="34" charset="0"/>
                  <a:cs typeface="Arial" panose="020B0604020202020204" pitchFamily="34" charset="0"/>
                </a:rPr>
                <a:t>Data yang </a:t>
              </a:r>
              <a:r>
                <a:rPr lang="en-US" sz="2100" dirty="0" err="1">
                  <a:latin typeface="Arial" panose="020B0604020202020204" pitchFamily="34" charset="0"/>
                  <a:cs typeface="Arial" panose="020B0604020202020204" pitchFamily="34" charset="0"/>
                </a:rPr>
                <a:t>didapat</a:t>
              </a:r>
              <a:r>
                <a:rPr lang="en-US" sz="21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2100" dirty="0" err="1">
                  <a:latin typeface="Arial" panose="020B0604020202020204" pitchFamily="34" charset="0"/>
                  <a:cs typeface="Arial" panose="020B0604020202020204" pitchFamily="34" charset="0"/>
                </a:rPr>
                <a:t>difilter</a:t>
              </a:r>
              <a:r>
                <a:rPr lang="en-US" sz="21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2100" dirty="0" err="1">
                  <a:latin typeface="Arial" panose="020B0604020202020204" pitchFamily="34" charset="0"/>
                  <a:cs typeface="Arial" panose="020B0604020202020204" pitchFamily="34" charset="0"/>
                </a:rPr>
                <a:t>untuk</a:t>
              </a:r>
              <a:r>
                <a:rPr lang="en-US" sz="21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2100" dirty="0" err="1">
                  <a:latin typeface="Arial" panose="020B0604020202020204" pitchFamily="34" charset="0"/>
                  <a:cs typeface="Arial" panose="020B0604020202020204" pitchFamily="34" charset="0"/>
                </a:rPr>
                <a:t>lokasi</a:t>
              </a:r>
              <a:r>
                <a:rPr lang="en-US" sz="2100" dirty="0">
                  <a:latin typeface="Arial" panose="020B0604020202020204" pitchFamily="34" charset="0"/>
                  <a:cs typeface="Arial" panose="020B0604020202020204" pitchFamily="34" charset="0"/>
                </a:rPr>
                <a:t> Tol </a:t>
              </a:r>
              <a:r>
                <a:rPr lang="en-US" sz="2100" dirty="0" err="1">
                  <a:latin typeface="Arial" panose="020B0604020202020204" pitchFamily="34" charset="0"/>
                  <a:cs typeface="Arial" panose="020B0604020202020204" pitchFamily="34" charset="0"/>
                </a:rPr>
                <a:t>Jagorawi</a:t>
              </a:r>
              <a:endParaRPr lang="en-US" sz="21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endParaRPr lang="en-US" sz="2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3F5222CE-6A77-4D2E-B345-D3D42B8B5B42}"/>
              </a:ext>
            </a:extLst>
          </p:cNvPr>
          <p:cNvGrpSpPr/>
          <p:nvPr/>
        </p:nvGrpSpPr>
        <p:grpSpPr>
          <a:xfrm>
            <a:off x="1967759" y="1766047"/>
            <a:ext cx="3757372" cy="3281082"/>
            <a:chOff x="497541" y="1519518"/>
            <a:chExt cx="4410635" cy="3375211"/>
          </a:xfrm>
        </p:grpSpPr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1BB351B1-C79F-4A5A-960C-5CD5608472C5}"/>
                </a:ext>
              </a:extLst>
            </p:cNvPr>
            <p:cNvSpPr/>
            <p:nvPr/>
          </p:nvSpPr>
          <p:spPr>
            <a:xfrm>
              <a:off x="497541" y="1519518"/>
              <a:ext cx="4410635" cy="3375211"/>
            </a:xfrm>
            <a:prstGeom prst="round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2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Text Placeholder 23">
              <a:extLst>
                <a:ext uri="{FF2B5EF4-FFF2-40B4-BE49-F238E27FC236}">
                  <a16:creationId xmlns:a16="http://schemas.microsoft.com/office/drawing/2014/main" id="{C96E5463-EF75-463B-B3E7-DD7637597124}"/>
                </a:ext>
              </a:extLst>
            </p:cNvPr>
            <p:cNvSpPr txBox="1">
              <a:spLocks/>
            </p:cNvSpPr>
            <p:nvPr/>
          </p:nvSpPr>
          <p:spPr>
            <a:xfrm>
              <a:off x="1066801" y="2048256"/>
              <a:ext cx="3232673" cy="640080"/>
            </a:xfrm>
            <a:prstGeom prst="rect">
              <a:avLst/>
            </a:prstGeom>
          </p:spPr>
          <p:txBody>
            <a:bodyPr/>
            <a:lstStyle>
              <a:lvl1pPr marL="182880" indent="-182880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buClr>
                  <a:schemeClr val="accent2"/>
                </a:buClr>
                <a:buSzPct val="85000"/>
                <a:buFont typeface="Wingdings" pitchFamily="2" charset="2"/>
                <a:buChar char="§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-182880" algn="l" defTabSz="914400" rtl="0" eaLnBrk="1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200"/>
                </a:spcAft>
                <a:buClr>
                  <a:schemeClr val="accent2"/>
                </a:buClr>
                <a:buSzPct val="85000"/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31520" indent="-182880" algn="l" defTabSz="914400" rtl="0" eaLnBrk="1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200"/>
                </a:spcAft>
                <a:buClr>
                  <a:schemeClr val="accent2"/>
                </a:buClr>
                <a:buSzPct val="85000"/>
                <a:buFont typeface="Wingdings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05840" indent="-182880" algn="l" defTabSz="914400" rtl="0" eaLnBrk="1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200"/>
                </a:spcAft>
                <a:buClr>
                  <a:schemeClr val="accent2"/>
                </a:buClr>
                <a:buSzPct val="85000"/>
                <a:buFont typeface="Wingdings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80160" indent="-182880" algn="l" defTabSz="914400" rtl="0" eaLnBrk="1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200"/>
                </a:spcAft>
                <a:buClr>
                  <a:schemeClr val="accent2"/>
                </a:buClr>
                <a:buSzPct val="85000"/>
                <a:buFont typeface="Wingdings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600000" indent="-228600" algn="l" defTabSz="914400" rtl="0" eaLnBrk="1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200"/>
                </a:spcAft>
                <a:buClr>
                  <a:schemeClr val="accent2"/>
                </a:buClr>
                <a:buSzPct val="85000"/>
                <a:buFont typeface="Wingdings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900000" indent="-228600" algn="l" defTabSz="914400" rtl="0" eaLnBrk="1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200"/>
                </a:spcAft>
                <a:buClr>
                  <a:schemeClr val="accent2"/>
                </a:buClr>
                <a:buSzPct val="85000"/>
                <a:buFont typeface="Wingdings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200000" indent="-228600" algn="l" defTabSz="914400" rtl="0" eaLnBrk="1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200"/>
                </a:spcAft>
                <a:buClr>
                  <a:schemeClr val="accent2"/>
                </a:buClr>
                <a:buSzPct val="85000"/>
                <a:buFont typeface="Wingdings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500000" indent="-228600" algn="l" defTabSz="914400" rtl="0" eaLnBrk="1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200"/>
                </a:spcAft>
                <a:buClr>
                  <a:schemeClr val="accent2"/>
                </a:buClr>
                <a:buSzPct val="85000"/>
                <a:buFont typeface="Wingdings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100" dirty="0" err="1">
                  <a:latin typeface="Arial" panose="020B0604020202020204" pitchFamily="34" charset="0"/>
                  <a:cs typeface="Arial" panose="020B0604020202020204" pitchFamily="34" charset="0"/>
                </a:rPr>
                <a:t>Sumber</a:t>
              </a:r>
              <a:r>
                <a:rPr lang="en-US" sz="2100" dirty="0">
                  <a:latin typeface="Arial" panose="020B0604020202020204" pitchFamily="34" charset="0"/>
                  <a:cs typeface="Arial" panose="020B0604020202020204" pitchFamily="34" charset="0"/>
                </a:rPr>
                <a:t> data : </a:t>
              </a:r>
              <a:r>
                <a:rPr lang="en-US" sz="2100" dirty="0" err="1">
                  <a:latin typeface="Arial" panose="020B0604020202020204" pitchFamily="34" charset="0"/>
                  <a:cs typeface="Arial" panose="020B0604020202020204" pitchFamily="34" charset="0"/>
                </a:rPr>
                <a:t>panitia</a:t>
              </a:r>
              <a:r>
                <a:rPr lang="en-US" sz="2100" dirty="0">
                  <a:latin typeface="Arial" panose="020B0604020202020204" pitchFamily="34" charset="0"/>
                  <a:cs typeface="Arial" panose="020B0604020202020204" pitchFamily="34" charset="0"/>
                </a:rPr>
                <a:t> DSLS-23</a:t>
              </a:r>
            </a:p>
            <a:p>
              <a:r>
                <a:rPr lang="en-US" sz="2100" dirty="0">
                  <a:latin typeface="Arial" panose="020B0604020202020204" pitchFamily="34" charset="0"/>
                  <a:cs typeface="Arial" panose="020B0604020202020204" pitchFamily="34" charset="0"/>
                </a:rPr>
                <a:t>Nama data = </a:t>
              </a:r>
              <a:r>
                <a:rPr lang="en-US" sz="2100" dirty="0" err="1">
                  <a:latin typeface="Arial" panose="020B0604020202020204" pitchFamily="34" charset="0"/>
                  <a:cs typeface="Arial" panose="020B0604020202020204" pitchFamily="34" charset="0"/>
                </a:rPr>
                <a:t>aggregate_median_jams_Kota</a:t>
              </a:r>
              <a:r>
                <a:rPr lang="en-US" sz="2100" dirty="0">
                  <a:latin typeface="Arial" panose="020B0604020202020204" pitchFamily="34" charset="0"/>
                  <a:cs typeface="Arial" panose="020B0604020202020204" pitchFamily="34" charset="0"/>
                </a:rPr>
                <a:t> Bekasi</a:t>
              </a:r>
            </a:p>
            <a:p>
              <a:endParaRPr lang="en-US" sz="2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87254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57CB8BC-DE43-40DC-AD68-245A6AAE93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8241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7783424-FF7F-40E8-A2AE-DB610FA5F1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6800" y="585216"/>
            <a:ext cx="10058400" cy="604580"/>
          </a:xfrm>
        </p:spPr>
        <p:txBody>
          <a:bodyPr vert="horz">
            <a:normAutofit fontScale="90000"/>
          </a:bodyPr>
          <a:lstStyle/>
          <a:p>
            <a:pPr algn="ctr"/>
            <a:r>
              <a:rPr lang="en-ID" sz="4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ata Cleansing and </a:t>
            </a:r>
            <a:r>
              <a:rPr lang="en-ID" sz="48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reprocessing</a:t>
            </a:r>
            <a:r>
              <a:rPr lang="en-ID" sz="4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endParaRPr lang="en-US" dirty="0"/>
          </a:p>
        </p:txBody>
      </p:sp>
      <p:sp>
        <p:nvSpPr>
          <p:cNvPr id="9" name="Content Placeholder 24">
            <a:extLst>
              <a:ext uri="{FF2B5EF4-FFF2-40B4-BE49-F238E27FC236}">
                <a16:creationId xmlns:a16="http://schemas.microsoft.com/office/drawing/2014/main" id="{931F74A6-ECCD-40A9-8DB5-9E4F07ED2C45}"/>
              </a:ext>
            </a:extLst>
          </p:cNvPr>
          <p:cNvSpPr txBox="1">
            <a:spLocks/>
          </p:cNvSpPr>
          <p:nvPr/>
        </p:nvSpPr>
        <p:spPr>
          <a:xfrm>
            <a:off x="1381613" y="1304365"/>
            <a:ext cx="9443269" cy="5082988"/>
          </a:xfrm>
          <a:prstGeom prst="rect">
            <a:avLst/>
          </a:prstGeom>
        </p:spPr>
        <p:txBody>
          <a:bodyPr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2100" dirty="0">
                <a:latin typeface="Arial" panose="020B0604020202020204" pitchFamily="34" charset="0"/>
                <a:cs typeface="Arial" panose="020B0604020202020204" pitchFamily="34" charset="0"/>
              </a:rPr>
              <a:t>Kolom yang </a:t>
            </a:r>
            <a:r>
              <a:rPr lang="en-US" sz="2100" dirty="0" err="1">
                <a:latin typeface="Arial" panose="020B0604020202020204" pitchFamily="34" charset="0"/>
                <a:cs typeface="Arial" panose="020B0604020202020204" pitchFamily="34" charset="0"/>
              </a:rPr>
              <a:t>digunakan</a:t>
            </a:r>
            <a:r>
              <a:rPr lang="en-US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100" dirty="0" err="1">
                <a:latin typeface="Arial" panose="020B0604020202020204" pitchFamily="34" charset="0"/>
                <a:cs typeface="Arial" panose="020B0604020202020204" pitchFamily="34" charset="0"/>
              </a:rPr>
              <a:t>dalam</a:t>
            </a:r>
            <a:r>
              <a:rPr lang="en-US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100" dirty="0" err="1">
                <a:latin typeface="Arial" panose="020B0604020202020204" pitchFamily="34" charset="0"/>
                <a:cs typeface="Arial" panose="020B0604020202020204" pitchFamily="34" charset="0"/>
              </a:rPr>
              <a:t>melakukan</a:t>
            </a:r>
            <a:r>
              <a:rPr lang="en-US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100" dirty="0" err="1">
                <a:latin typeface="Arial" panose="020B0604020202020204" pitchFamily="34" charset="0"/>
                <a:cs typeface="Arial" panose="020B0604020202020204" pitchFamily="34" charset="0"/>
              </a:rPr>
              <a:t>prediksi</a:t>
            </a:r>
            <a:r>
              <a:rPr lang="en-US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100" dirty="0" err="1">
                <a:latin typeface="Arial" panose="020B0604020202020204" pitchFamily="34" charset="0"/>
                <a:cs typeface="Arial" panose="020B0604020202020204" pitchFamily="34" charset="0"/>
              </a:rPr>
              <a:t>yaitu</a:t>
            </a:r>
            <a:r>
              <a:rPr lang="en-US" sz="2100" dirty="0">
                <a:latin typeface="Arial" panose="020B0604020202020204" pitchFamily="34" charset="0"/>
                <a:cs typeface="Arial" panose="020B0604020202020204" pitchFamily="34" charset="0"/>
              </a:rPr>
              <a:t> time dan median level. </a:t>
            </a:r>
            <a:r>
              <a:rPr lang="en-US" sz="2100" dirty="0" err="1">
                <a:latin typeface="Arial" panose="020B0604020202020204" pitchFamily="34" charset="0"/>
                <a:cs typeface="Arial" panose="020B0604020202020204" pitchFamily="34" charset="0"/>
              </a:rPr>
              <a:t>Namun</a:t>
            </a:r>
            <a:r>
              <a:rPr lang="en-US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100" dirty="0" err="1">
                <a:latin typeface="Arial" panose="020B0604020202020204" pitchFamily="34" charset="0"/>
                <a:cs typeface="Arial" panose="020B0604020202020204" pitchFamily="34" charset="0"/>
              </a:rPr>
              <a:t>sebelum</a:t>
            </a:r>
            <a:r>
              <a:rPr lang="en-US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100" dirty="0" err="1">
                <a:latin typeface="Arial" panose="020B0604020202020204" pitchFamily="34" charset="0"/>
                <a:cs typeface="Arial" panose="020B0604020202020204" pitchFamily="34" charset="0"/>
              </a:rPr>
              <a:t>nya</a:t>
            </a:r>
            <a:r>
              <a:rPr lang="en-US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100" dirty="0" err="1">
                <a:latin typeface="Arial" panose="020B0604020202020204" pitchFamily="34" charset="0"/>
                <a:cs typeface="Arial" panose="020B0604020202020204" pitchFamily="34" charset="0"/>
              </a:rPr>
              <a:t>dilakukan</a:t>
            </a:r>
            <a:r>
              <a:rPr lang="en-US" sz="2100" dirty="0">
                <a:latin typeface="Arial" panose="020B0604020202020204" pitchFamily="34" charset="0"/>
                <a:cs typeface="Arial" panose="020B0604020202020204" pitchFamily="34" charset="0"/>
              </a:rPr>
              <a:t> statistic </a:t>
            </a:r>
            <a:r>
              <a:rPr lang="en-US" sz="2100" dirty="0" err="1">
                <a:latin typeface="Arial" panose="020B0604020202020204" pitchFamily="34" charset="0"/>
                <a:cs typeface="Arial" panose="020B0604020202020204" pitchFamily="34" charset="0"/>
              </a:rPr>
              <a:t>dasar</a:t>
            </a:r>
            <a:r>
              <a:rPr lang="en-US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100" dirty="0" err="1">
                <a:latin typeface="Arial" panose="020B0604020202020204" pitchFamily="34" charset="0"/>
                <a:cs typeface="Arial" panose="020B0604020202020204" pitchFamily="34" charset="0"/>
              </a:rPr>
              <a:t>dari</a:t>
            </a:r>
            <a:r>
              <a:rPr lang="en-US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100" dirty="0" err="1">
                <a:latin typeface="Arial" panose="020B0604020202020204" pitchFamily="34" charset="0"/>
                <a:cs typeface="Arial" panose="020B0604020202020204" pitchFamily="34" charset="0"/>
              </a:rPr>
              <a:t>beberapa</a:t>
            </a:r>
            <a:r>
              <a:rPr lang="en-US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100" dirty="0" err="1">
                <a:latin typeface="Arial" panose="020B0604020202020204" pitchFamily="34" charset="0"/>
                <a:cs typeface="Arial" panose="020B0604020202020204" pitchFamily="34" charset="0"/>
              </a:rPr>
              <a:t>kolom</a:t>
            </a:r>
            <a:r>
              <a:rPr lang="en-US" sz="2100" dirty="0">
                <a:latin typeface="Arial" panose="020B0604020202020204" pitchFamily="34" charset="0"/>
                <a:cs typeface="Arial" panose="020B0604020202020204" pitchFamily="34" charset="0"/>
              </a:rPr>
              <a:t> yang </a:t>
            </a:r>
            <a:r>
              <a:rPr lang="en-US" sz="2100" dirty="0" err="1">
                <a:latin typeface="Arial" panose="020B0604020202020204" pitchFamily="34" charset="0"/>
                <a:cs typeface="Arial" panose="020B0604020202020204" pitchFamily="34" charset="0"/>
              </a:rPr>
              <a:t>menjadi</a:t>
            </a:r>
            <a:r>
              <a:rPr lang="en-US" sz="2100" dirty="0">
                <a:latin typeface="Arial" panose="020B0604020202020204" pitchFamily="34" charset="0"/>
                <a:cs typeface="Arial" panose="020B0604020202020204" pitchFamily="34" charset="0"/>
              </a:rPr>
              <a:t> feature </a:t>
            </a:r>
            <a:r>
              <a:rPr lang="en-US" sz="2100" dirty="0" err="1">
                <a:latin typeface="Arial" panose="020B0604020202020204" pitchFamily="34" charset="0"/>
                <a:cs typeface="Arial" panose="020B0604020202020204" pitchFamily="34" charset="0"/>
              </a:rPr>
              <a:t>dari</a:t>
            </a:r>
            <a:r>
              <a:rPr lang="en-US" sz="2100" dirty="0">
                <a:latin typeface="Arial" panose="020B0604020202020204" pitchFamily="34" charset="0"/>
                <a:cs typeface="Arial" panose="020B0604020202020204" pitchFamily="34" charset="0"/>
              </a:rPr>
              <a:t> target </a:t>
            </a:r>
            <a:r>
              <a:rPr lang="en-US" sz="2100" dirty="0" err="1">
                <a:latin typeface="Arial" panose="020B0604020202020204" pitchFamily="34" charset="0"/>
                <a:cs typeface="Arial" panose="020B0604020202020204" pitchFamily="34" charset="0"/>
              </a:rPr>
              <a:t>kolom</a:t>
            </a:r>
            <a:r>
              <a:rPr lang="en-US" sz="2100" dirty="0">
                <a:latin typeface="Arial" panose="020B0604020202020204" pitchFamily="34" charset="0"/>
                <a:cs typeface="Arial" panose="020B0604020202020204" pitchFamily="34" charset="0"/>
              </a:rPr>
              <a:t> median level </a:t>
            </a:r>
            <a:r>
              <a:rPr lang="en-US" sz="2100" dirty="0" err="1">
                <a:latin typeface="Arial" panose="020B0604020202020204" pitchFamily="34" charset="0"/>
                <a:cs typeface="Arial" panose="020B0604020202020204" pitchFamily="34" charset="0"/>
              </a:rPr>
              <a:t>yaitu</a:t>
            </a:r>
            <a:r>
              <a:rPr lang="en-US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'median_length','median_delay','</a:t>
            </a:r>
            <a:r>
              <a:rPr lang="en-ID" sz="21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dian_speed_kmh</a:t>
            </a:r>
            <a:r>
              <a:rPr lang="en-ID" sz="21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’,</a:t>
            </a:r>
          </a:p>
          <a:p>
            <a:pPr algn="just"/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Data cleansing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dilakukan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dengan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menghapus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outlier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dari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dirty="0" err="1">
                <a:latin typeface="Arial" panose="020B0604020202020204" pitchFamily="34" charset="0"/>
                <a:cs typeface="Arial" panose="020B0604020202020204" pitchFamily="34" charset="0"/>
              </a:rPr>
              <a:t>kolom</a:t>
            </a:r>
            <a:r>
              <a:rPr lang="en-ID" sz="2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1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'median_length','median_delay','</a:t>
            </a:r>
            <a:r>
              <a:rPr lang="en-ID" sz="21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dian_speed_kmh</a:t>
            </a:r>
            <a:r>
              <a:rPr lang="en-ID" sz="21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’,</a:t>
            </a:r>
            <a:endParaRPr lang="en-ID" sz="2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CD6068F-34F6-4706-BDFB-33B0FF56533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30837" y="3500740"/>
            <a:ext cx="4220294" cy="297575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A690224-215F-4E99-89E7-9CEBEE221D1D}"/>
              </a:ext>
            </a:extLst>
          </p:cNvPr>
          <p:cNvSpPr txBox="1"/>
          <p:nvPr/>
        </p:nvSpPr>
        <p:spPr>
          <a:xfrm>
            <a:off x="1381613" y="5785595"/>
            <a:ext cx="22322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belum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leansing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246C86D-5D40-4E4C-A59B-BAB11B38565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16338" y="3608906"/>
            <a:ext cx="3913485" cy="275942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D906E030-ABBF-4ED4-BCA8-07936A339AB7}"/>
              </a:ext>
            </a:extLst>
          </p:cNvPr>
          <p:cNvSpPr txBox="1"/>
          <p:nvPr/>
        </p:nvSpPr>
        <p:spPr>
          <a:xfrm>
            <a:off x="6096000" y="5785595"/>
            <a:ext cx="22322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telah cleansing</a:t>
            </a:r>
          </a:p>
        </p:txBody>
      </p:sp>
    </p:spTree>
    <p:extLst>
      <p:ext uri="{BB962C8B-B14F-4D97-AF65-F5344CB8AC3E}">
        <p14:creationId xmlns:p14="http://schemas.microsoft.com/office/powerpoint/2010/main" val="13695300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57CB8BC-DE43-40DC-AD68-245A6AAE93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4632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57CB8BC-DE43-40DC-AD68-245A6AAE9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24">
            <a:extLst>
              <a:ext uri="{FF2B5EF4-FFF2-40B4-BE49-F238E27FC236}">
                <a16:creationId xmlns:a16="http://schemas.microsoft.com/office/drawing/2014/main" id="{931F74A6-ECCD-40A9-8DB5-9E4F07ED2C45}"/>
              </a:ext>
            </a:extLst>
          </p:cNvPr>
          <p:cNvSpPr txBox="1">
            <a:spLocks/>
          </p:cNvSpPr>
          <p:nvPr/>
        </p:nvSpPr>
        <p:spPr>
          <a:xfrm>
            <a:off x="1381613" y="981635"/>
            <a:ext cx="9470163" cy="5405718"/>
          </a:xfrm>
          <a:prstGeom prst="rect">
            <a:avLst/>
          </a:prstGeom>
        </p:spPr>
        <p:txBody>
          <a:bodyPr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100" dirty="0">
                <a:solidFill>
                  <a:srgbClr val="20212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telah outlier </a:t>
            </a:r>
            <a:r>
              <a:rPr lang="en-US" sz="2100" dirty="0" err="1">
                <a:solidFill>
                  <a:srgbClr val="20212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hapus</a:t>
            </a:r>
            <a:r>
              <a:rPr lang="en-US" sz="2100" dirty="0">
                <a:solidFill>
                  <a:srgbClr val="20212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100" dirty="0" err="1">
                <a:solidFill>
                  <a:srgbClr val="20212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ngambil</a:t>
            </a:r>
            <a:r>
              <a:rPr lang="en-US" sz="2100" dirty="0">
                <a:solidFill>
                  <a:srgbClr val="20212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100" dirty="0" err="1">
                <a:solidFill>
                  <a:srgbClr val="20212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olom</a:t>
            </a:r>
            <a:r>
              <a:rPr lang="en-US" sz="2100" dirty="0">
                <a:solidFill>
                  <a:srgbClr val="20212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time dan </a:t>
            </a:r>
            <a:r>
              <a:rPr lang="en-US" sz="2100" dirty="0" err="1">
                <a:solidFill>
                  <a:srgbClr val="20212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dian_level</a:t>
            </a:r>
            <a:r>
              <a:rPr lang="en-US" sz="2100" dirty="0">
                <a:solidFill>
                  <a:srgbClr val="20212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100" dirty="0" err="1">
                <a:solidFill>
                  <a:srgbClr val="20212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ntuk</a:t>
            </a:r>
            <a:r>
              <a:rPr lang="en-US" sz="2100" dirty="0">
                <a:solidFill>
                  <a:srgbClr val="20212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100" dirty="0" err="1">
                <a:solidFill>
                  <a:srgbClr val="20212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mudian</a:t>
            </a:r>
            <a:r>
              <a:rPr lang="en-US" sz="2100" dirty="0">
                <a:solidFill>
                  <a:srgbClr val="20212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100" dirty="0" err="1">
                <a:solidFill>
                  <a:srgbClr val="20212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lakukan</a:t>
            </a:r>
            <a:r>
              <a:rPr lang="en-US" sz="2100" dirty="0">
                <a:solidFill>
                  <a:srgbClr val="20212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roses forecasting with time series.</a:t>
            </a:r>
            <a:endParaRPr lang="en-ID" sz="2100" dirty="0">
              <a:solidFill>
                <a:srgbClr val="D4D4D4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ID" sz="2100" dirty="0" err="1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eberapa</a:t>
            </a:r>
            <a:r>
              <a:rPr lang="en-ID" sz="2100" dirty="0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value </a:t>
            </a:r>
            <a:r>
              <a:rPr lang="en-ID" sz="2100" dirty="0" err="1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ri</a:t>
            </a:r>
            <a:r>
              <a:rPr lang="en-ID" sz="2100" dirty="0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2100" dirty="0" err="1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olom</a:t>
            </a:r>
            <a:r>
              <a:rPr lang="en-ID" sz="2100" dirty="0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time </a:t>
            </a:r>
            <a:r>
              <a:rPr lang="en-ID" sz="2100" dirty="0" err="1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miliki</a:t>
            </a:r>
            <a:r>
              <a:rPr lang="en-ID" sz="2100" dirty="0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uplicated value </a:t>
            </a:r>
            <a:r>
              <a:rPr lang="en-ID" sz="2100" dirty="0" err="1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ngan</a:t>
            </a:r>
            <a:r>
              <a:rPr lang="en-ID" sz="2100" dirty="0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2100" dirty="0" err="1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dian_level</a:t>
            </a:r>
            <a:r>
              <a:rPr lang="en-ID" sz="2100" dirty="0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yang </a:t>
            </a:r>
            <a:r>
              <a:rPr lang="en-ID" sz="2100" dirty="0" err="1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erbeda</a:t>
            </a:r>
            <a:r>
              <a:rPr lang="en-ID" sz="2100" dirty="0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endParaRPr lang="en-ID" sz="2100" dirty="0">
              <a:solidFill>
                <a:srgbClr val="2A2A2A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ID" sz="2100" dirty="0">
              <a:solidFill>
                <a:srgbClr val="2A2A2A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ID" sz="2100" dirty="0">
              <a:solidFill>
                <a:srgbClr val="2A2A2A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ID" sz="2100" dirty="0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arena </a:t>
            </a:r>
            <a:r>
              <a:rPr lang="en-ID" sz="2100" dirty="0" err="1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gin</a:t>
            </a:r>
            <a:r>
              <a:rPr lang="en-ID" sz="2100" dirty="0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2100" dirty="0" err="1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miliki</a:t>
            </a:r>
            <a:r>
              <a:rPr lang="en-ID" sz="2100" dirty="0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unique value pada </a:t>
            </a:r>
            <a:r>
              <a:rPr lang="en-ID" sz="2100" dirty="0" err="1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olom</a:t>
            </a:r>
            <a:r>
              <a:rPr lang="en-ID" sz="2100" dirty="0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time, </a:t>
            </a:r>
            <a:r>
              <a:rPr lang="en-ID" sz="2100" dirty="0" err="1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khirnya</a:t>
            </a:r>
            <a:r>
              <a:rPr lang="en-ID" sz="2100" dirty="0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uplicated values pada </a:t>
            </a:r>
            <a:r>
              <a:rPr lang="en-ID" sz="2100" dirty="0" err="1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olom</a:t>
            </a:r>
            <a:r>
              <a:rPr lang="en-ID" sz="2100" dirty="0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time </a:t>
            </a:r>
            <a:r>
              <a:rPr lang="en-ID" sz="2100" dirty="0" err="1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hapus</a:t>
            </a:r>
            <a:r>
              <a:rPr lang="en-ID" sz="2100" dirty="0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2100" dirty="0" err="1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ngan</a:t>
            </a:r>
            <a:r>
              <a:rPr lang="en-ID" sz="2100" dirty="0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2100" dirty="0" err="1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milih</a:t>
            </a:r>
            <a:r>
              <a:rPr lang="en-ID" sz="2100" dirty="0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D" sz="2100" dirty="0" err="1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dian_level</a:t>
            </a:r>
            <a:r>
              <a:rPr lang="en-ID" sz="2100" dirty="0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yang paling </a:t>
            </a:r>
            <a:r>
              <a:rPr lang="en-ID" sz="2100" dirty="0" err="1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inggi</a:t>
            </a:r>
            <a:r>
              <a:rPr lang="en-ID" sz="2100" dirty="0">
                <a:solidFill>
                  <a:srgbClr val="2A2A2A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762FAD5-4E41-4F71-B377-1CF73EFEC6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08772" y="2466727"/>
            <a:ext cx="3191320" cy="105742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ADA72A-24EB-4750-90A6-9833C8E1D3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08772" y="4518636"/>
            <a:ext cx="6106377" cy="981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7308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57CB8BC-DE43-40DC-AD68-245A6AAE93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4878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57CB8BC-DE43-40DC-AD68-245A6AAE9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7783424-FF7F-40E8-A2AE-DB610FA5F1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7766" y="807361"/>
            <a:ext cx="10058400" cy="792839"/>
          </a:xfrm>
        </p:spPr>
        <p:txBody>
          <a:bodyPr vert="horz"/>
          <a:lstStyle/>
          <a:p>
            <a:pPr algn="ctr"/>
            <a:r>
              <a:rPr lang="en-US" dirty="0">
                <a:latin typeface="+mn-lt"/>
              </a:rPr>
              <a:t>Modeling</a:t>
            </a:r>
            <a:endParaRPr lang="en-US" dirty="0"/>
          </a:p>
        </p:txBody>
      </p:sp>
      <p:sp>
        <p:nvSpPr>
          <p:cNvPr id="4" name="Content Placeholder 24">
            <a:extLst>
              <a:ext uri="{FF2B5EF4-FFF2-40B4-BE49-F238E27FC236}">
                <a16:creationId xmlns:a16="http://schemas.microsoft.com/office/drawing/2014/main" id="{C1BD89E3-E664-43F3-B2F1-F4579F3685FA}"/>
              </a:ext>
            </a:extLst>
          </p:cNvPr>
          <p:cNvSpPr txBox="1">
            <a:spLocks/>
          </p:cNvSpPr>
          <p:nvPr/>
        </p:nvSpPr>
        <p:spPr>
          <a:xfrm>
            <a:off x="884072" y="1801906"/>
            <a:ext cx="10329727" cy="3496236"/>
          </a:xfrm>
          <a:prstGeom prst="rect">
            <a:avLst/>
          </a:prstGeom>
        </p:spPr>
        <p:txBody>
          <a:bodyPr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belum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buat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deling,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ri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lom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ime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pecah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jadi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berapa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lom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ngan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erarki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ktu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perti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our,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yofweek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quarter, month, year,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yofyear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yofmonth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ekofyear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n weekday</a:t>
            </a:r>
          </a:p>
          <a:p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lakukan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eking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vel jam by day of week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elah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ta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bersihkan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Rata-rata level jam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rada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 level 2-3</a:t>
            </a:r>
          </a:p>
          <a:p>
            <a:endParaRPr lang="en-ID" dirty="0">
              <a:solidFill>
                <a:srgbClr val="2A2A2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F40BEC2-A43A-43CF-A7CB-B27562B444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8201" y="3550024"/>
            <a:ext cx="4863073" cy="2710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890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57CB8BC-DE43-40DC-AD68-245A6AAE93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57CB8BC-DE43-40DC-AD68-245A6AAE9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24">
            <a:extLst>
              <a:ext uri="{FF2B5EF4-FFF2-40B4-BE49-F238E27FC236}">
                <a16:creationId xmlns:a16="http://schemas.microsoft.com/office/drawing/2014/main" id="{C1BD89E3-E664-43F3-B2F1-F4579F3685FA}"/>
              </a:ext>
            </a:extLst>
          </p:cNvPr>
          <p:cNvSpPr txBox="1">
            <a:spLocks/>
          </p:cNvSpPr>
          <p:nvPr/>
        </p:nvSpPr>
        <p:spPr>
          <a:xfrm>
            <a:off x="776496" y="374336"/>
            <a:ext cx="10653504" cy="981636"/>
          </a:xfrm>
          <a:prstGeom prst="rect">
            <a:avLst/>
          </a:prstGeom>
        </p:spPr>
        <p:txBody>
          <a:bodyPr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Train test split data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menggunakan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persentase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80%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untuk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data training dan 20%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untuk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data testing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55AF348-5652-4082-8D7B-70FC6998081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5893" y="987567"/>
            <a:ext cx="6543675" cy="2511823"/>
          </a:xfrm>
          <a:prstGeom prst="rect">
            <a:avLst/>
          </a:prstGeom>
        </p:spPr>
      </p:pic>
      <p:sp>
        <p:nvSpPr>
          <p:cNvPr id="12" name="Content Placeholder 24">
            <a:extLst>
              <a:ext uri="{FF2B5EF4-FFF2-40B4-BE49-F238E27FC236}">
                <a16:creationId xmlns:a16="http://schemas.microsoft.com/office/drawing/2014/main" id="{F282B67F-EEFD-4068-AB12-CFB77CFFDBDF}"/>
              </a:ext>
            </a:extLst>
          </p:cNvPr>
          <p:cNvSpPr txBox="1">
            <a:spLocks/>
          </p:cNvSpPr>
          <p:nvPr/>
        </p:nvSpPr>
        <p:spPr>
          <a:xfrm>
            <a:off x="776495" y="3591377"/>
            <a:ext cx="10653504" cy="981636"/>
          </a:xfrm>
          <a:prstGeom prst="rect">
            <a:avLst/>
          </a:prstGeom>
        </p:spPr>
        <p:txBody>
          <a:bodyPr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Model yang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digunakan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yaitu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Simple Prophet Model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dengan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sebelumnya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dilakukan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penggantian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nama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kolom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target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menjadi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y dan feature (time series)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menjadi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ds.</a:t>
            </a:r>
          </a:p>
          <a:p>
            <a:endParaRPr lang="en-US" dirty="0">
              <a:solidFill>
                <a:srgbClr val="202122"/>
              </a:solidFill>
              <a:latin typeface="Arial" panose="020B0604020202020204" pitchFamily="34" charset="0"/>
            </a:endParaRPr>
          </a:p>
          <a:p>
            <a:endParaRPr lang="en-ID" dirty="0">
              <a:solidFill>
                <a:srgbClr val="2A2A2A"/>
              </a:solidFill>
              <a:latin typeface="Roboto" panose="02000000000000000000" pitchFamily="2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0F600CC-58B5-48D6-BC70-C36B8CC2A0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5893" y="4478884"/>
            <a:ext cx="2343477" cy="2162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4753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57CB8BC-DE43-40DC-AD68-245A6AAE93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444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57CB8BC-DE43-40DC-AD68-245A6AAE9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24">
            <a:extLst>
              <a:ext uri="{FF2B5EF4-FFF2-40B4-BE49-F238E27FC236}">
                <a16:creationId xmlns:a16="http://schemas.microsoft.com/office/drawing/2014/main" id="{C1BD89E3-E664-43F3-B2F1-F4579F3685FA}"/>
              </a:ext>
            </a:extLst>
          </p:cNvPr>
          <p:cNvSpPr txBox="1">
            <a:spLocks/>
          </p:cNvSpPr>
          <p:nvPr/>
        </p:nvSpPr>
        <p:spPr>
          <a:xfrm>
            <a:off x="830284" y="753036"/>
            <a:ext cx="7675299" cy="981636"/>
          </a:xfrm>
          <a:prstGeom prst="rect">
            <a:avLst/>
          </a:prstGeom>
        </p:spPr>
        <p:txBody>
          <a:bodyPr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Tampilan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actual data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dapat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dilihat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pada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gambar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berikut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:</a:t>
            </a:r>
          </a:p>
        </p:txBody>
      </p:sp>
      <p:sp>
        <p:nvSpPr>
          <p:cNvPr id="12" name="Content Placeholder 24">
            <a:extLst>
              <a:ext uri="{FF2B5EF4-FFF2-40B4-BE49-F238E27FC236}">
                <a16:creationId xmlns:a16="http://schemas.microsoft.com/office/drawing/2014/main" id="{F282B67F-EEFD-4068-AB12-CFB77CFFDBDF}"/>
              </a:ext>
            </a:extLst>
          </p:cNvPr>
          <p:cNvSpPr txBox="1">
            <a:spLocks/>
          </p:cNvSpPr>
          <p:nvPr/>
        </p:nvSpPr>
        <p:spPr>
          <a:xfrm>
            <a:off x="853743" y="3231914"/>
            <a:ext cx="8206141" cy="501325"/>
          </a:xfrm>
          <a:prstGeom prst="rect">
            <a:avLst/>
          </a:prstGeom>
        </p:spPr>
        <p:txBody>
          <a:bodyPr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Perbanding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data forecast dan data actual sebagai </a:t>
            </a:r>
            <a:r>
              <a:rPr lang="en-US" dirty="0" err="1">
                <a:solidFill>
                  <a:srgbClr val="202122"/>
                </a:solidFill>
                <a:latin typeface="Arial" panose="020B0604020202020204" pitchFamily="34" charset="0"/>
              </a:rPr>
              <a:t>berikut</a:t>
            </a:r>
            <a:r>
              <a:rPr lang="en-US" dirty="0">
                <a:solidFill>
                  <a:srgbClr val="202122"/>
                </a:solidFill>
                <a:latin typeface="Arial" panose="020B0604020202020204" pitchFamily="34" charset="0"/>
              </a:rPr>
              <a:t> :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2D7CB84-7613-4FBA-9D3C-3250D97DD2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73640" y="1243854"/>
            <a:ext cx="6288181" cy="193721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B99F73A-DC8B-442F-B59C-42B5AD8630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3743" y="3671888"/>
            <a:ext cx="9648825" cy="2605367"/>
          </a:xfrm>
          <a:prstGeom prst="rect">
            <a:avLst/>
          </a:prstGeom>
        </p:spPr>
      </p:pic>
      <p:sp>
        <p:nvSpPr>
          <p:cNvPr id="19" name="Content Placeholder 24">
            <a:extLst>
              <a:ext uri="{FF2B5EF4-FFF2-40B4-BE49-F238E27FC236}">
                <a16:creationId xmlns:a16="http://schemas.microsoft.com/office/drawing/2014/main" id="{6B054878-780D-4CAA-80E9-DE1436F86F4A}"/>
              </a:ext>
            </a:extLst>
          </p:cNvPr>
          <p:cNvSpPr txBox="1">
            <a:spLocks/>
          </p:cNvSpPr>
          <p:nvPr/>
        </p:nvSpPr>
        <p:spPr>
          <a:xfrm>
            <a:off x="1575084" y="6367182"/>
            <a:ext cx="8206141" cy="981636"/>
          </a:xfrm>
          <a:prstGeom prst="rect">
            <a:avLst/>
          </a:prstGeom>
        </p:spPr>
        <p:txBody>
          <a:bodyPr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2"/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500" b="1" dirty="0" err="1">
                <a:solidFill>
                  <a:srgbClr val="202122"/>
                </a:solidFill>
                <a:latin typeface="Arial" panose="020B0604020202020204" pitchFamily="34" charset="0"/>
              </a:rPr>
              <a:t>merah</a:t>
            </a:r>
            <a:r>
              <a:rPr lang="en-US" sz="1500" b="1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en-US" sz="1500" b="1" dirty="0" err="1">
                <a:solidFill>
                  <a:srgbClr val="202122"/>
                </a:solidFill>
                <a:latin typeface="Arial" panose="020B0604020202020204" pitchFamily="34" charset="0"/>
              </a:rPr>
              <a:t>adalah</a:t>
            </a:r>
            <a:r>
              <a:rPr lang="en-US" sz="1500" b="1" dirty="0">
                <a:solidFill>
                  <a:srgbClr val="202122"/>
                </a:solidFill>
                <a:latin typeface="Arial" panose="020B0604020202020204" pitchFamily="34" charset="0"/>
              </a:rPr>
              <a:t> data actual dan </a:t>
            </a:r>
            <a:r>
              <a:rPr lang="en-US" sz="1500" b="1" dirty="0" err="1">
                <a:solidFill>
                  <a:srgbClr val="202122"/>
                </a:solidFill>
                <a:latin typeface="Arial" panose="020B0604020202020204" pitchFamily="34" charset="0"/>
              </a:rPr>
              <a:t>biru</a:t>
            </a:r>
            <a:r>
              <a:rPr lang="en-US" sz="1500" b="1" dirty="0">
                <a:solidFill>
                  <a:srgbClr val="202122"/>
                </a:solidFill>
                <a:latin typeface="Arial" panose="020B0604020202020204" pitchFamily="34" charset="0"/>
              </a:rPr>
              <a:t> data forecast</a:t>
            </a:r>
          </a:p>
          <a:p>
            <a:endParaRPr lang="en-ID" sz="1500" b="1" dirty="0">
              <a:solidFill>
                <a:srgbClr val="2A2A2A"/>
              </a:solidFill>
              <a:latin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37776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Wood Type">
  <a:themeElements>
    <a:clrScheme name="Wood Type">
      <a:dk1>
        <a:sysClr val="windowText" lastClr="000000"/>
      </a:dk1>
      <a:lt1>
        <a:sysClr val="window" lastClr="FFFFFF"/>
      </a:lt1>
      <a:dk2>
        <a:srgbClr val="84ACB6"/>
      </a:dk2>
      <a:lt2>
        <a:srgbClr val="EBE9DD"/>
      </a:lt2>
      <a:accent1>
        <a:srgbClr val="6F8183"/>
      </a:accent1>
      <a:accent2>
        <a:srgbClr val="967E96"/>
      </a:accent2>
      <a:accent3>
        <a:srgbClr val="CCC893"/>
      </a:accent3>
      <a:accent4>
        <a:srgbClr val="A54D74"/>
      </a:accent4>
      <a:accent5>
        <a:srgbClr val="949C6B"/>
      </a:accent5>
      <a:accent6>
        <a:srgbClr val="766A50"/>
      </a:accent6>
      <a:hlink>
        <a:srgbClr val="CC6600"/>
      </a:hlink>
      <a:folHlink>
        <a:srgbClr val="777777"/>
      </a:folHlink>
    </a:clrScheme>
    <a:fontScheme name="Wood Type">
      <a:majorFont>
        <a:latin typeface="Century Gothic" panose="020B0502020202020204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Bookman Old Style" panose="02050604050505020204"/>
        <a:ea typeface=""/>
        <a:cs typeface=""/>
        <a:font script="Grek" typeface="Cambria"/>
        <a:font script="Cyrl" typeface="Cambria"/>
        <a:font script="Jpan" typeface="HG明朝E"/>
        <a:font script="Hang" typeface="돋움"/>
        <a:font script="Hans" typeface="宋体"/>
        <a:font script="Hant" typeface="標楷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Wood Type">
      <a: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70000"/>
                <a:shade val="63000"/>
              </a:schemeClr>
              <a:schemeClr val="phClr">
                <a:tint val="10000"/>
                <a:satMod val="150000"/>
              </a:schemeClr>
            </a:duotone>
          </a:blip>
          <a:tile tx="0" ty="0" sx="60000" sy="59000" flip="none" algn="tl"/>
        </a:blipFill>
        <a:blipFill rotWithShape="1">
          <a:blip xmlns:r="http://schemas.openxmlformats.org/officeDocument/2006/relationships" r:embed="rId1">
            <a:duotone>
              <a:schemeClr val="phClr">
                <a:shade val="36000"/>
                <a:satMod val="120000"/>
              </a:schemeClr>
              <a:schemeClr val="phClr">
                <a:tint val="40000"/>
              </a:schemeClr>
            </a:duotone>
          </a:blip>
          <a:tile tx="0" ty="0" sx="60000" sy="59000" flip="none" algn="tl"/>
        </a:blip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softEdge rad="12700"/>
          </a:effectLst>
        </a:effectStyle>
        <a:effectStyle>
          <a:effectLst>
            <a:outerShdw blurRad="50800" dist="19050" dir="5400000" algn="tl" rotWithShape="0">
              <a:srgbClr val="000000">
                <a:alpha val="60000"/>
              </a:srgbClr>
            </a:outerShdw>
            <a:softEdge rad="12700"/>
          </a:effectLst>
        </a:effectStyle>
      </a:effectStyleLst>
      <a:bgFillStyleLst>
        <a:solidFill>
          <a:schemeClr val="phClr"/>
        </a:solidFill>
        <a:solidFill>
          <a:schemeClr val="phClr">
            <a:shade val="97000"/>
            <a:satMod val="15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75000"/>
                <a:shade val="58000"/>
                <a:satMod val="120000"/>
              </a:schemeClr>
              <a:schemeClr val="phClr">
                <a:tint val="50000"/>
                <a:shade val="96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ood Type" id="{7ACABC62-BF99-48CF-A9DC-4DB89C7B13DC}" vid="{8E89CD47-BF55-4DDE-B823-2283AA7E769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090434[[fn=Wood Type]]</Template>
  <TotalTime>211</TotalTime>
  <Words>509</Words>
  <Application>Microsoft Office PowerPoint</Application>
  <PresentationFormat>Widescreen</PresentationFormat>
  <Paragraphs>47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Arial</vt:lpstr>
      <vt:lpstr>Bookman Old Style</vt:lpstr>
      <vt:lpstr>Calibri</vt:lpstr>
      <vt:lpstr>Century Gothic</vt:lpstr>
      <vt:lpstr>Century Gothic (Headings)</vt:lpstr>
      <vt:lpstr>Roboto</vt:lpstr>
      <vt:lpstr>Wingdings</vt:lpstr>
      <vt:lpstr>Wood Type</vt:lpstr>
      <vt:lpstr>think-cell Slide</vt:lpstr>
      <vt:lpstr>Analisis Traffic  “Tol Jagorawi”</vt:lpstr>
      <vt:lpstr>Outline</vt:lpstr>
      <vt:lpstr>Business Understanding</vt:lpstr>
      <vt:lpstr>Data Understanding </vt:lpstr>
      <vt:lpstr>Data Cleansing and Preprocessing </vt:lpstr>
      <vt:lpstr>PowerPoint Presentation</vt:lpstr>
      <vt:lpstr>Modeling</vt:lpstr>
      <vt:lpstr>PowerPoint Presentation</vt:lpstr>
      <vt:lpstr>PowerPoint Presentation</vt:lpstr>
      <vt:lpstr>Evaluation</vt:lpstr>
      <vt:lpstr>Deployment</vt:lpstr>
      <vt:lpstr>Referensi</vt:lpstr>
      <vt:lpstr>Terimakasih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isis Prospek Perusahaan “NORTHWIND”</dc:title>
  <dc:creator>hasna_azizah_x</dc:creator>
  <cp:lastModifiedBy>Hasna Azizah</cp:lastModifiedBy>
  <cp:revision>3</cp:revision>
  <dcterms:created xsi:type="dcterms:W3CDTF">2023-01-28T12:48:58Z</dcterms:created>
  <dcterms:modified xsi:type="dcterms:W3CDTF">2023-02-22T18:01:45Z</dcterms:modified>
</cp:coreProperties>
</file>